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842" r:id="rId2"/>
    <p:sldId id="953" r:id="rId3"/>
    <p:sldId id="76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V3\master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V3\master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V3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V3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V3\master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V3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spPr>
            <a:solidFill>
              <a:schemeClr val="bg1"/>
            </a:solidFill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E3D-49DC-AC5D-DF5845DD9306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E3D-49DC-AC5D-DF5845DD930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DE3D-49DC-AC5D-DF5845DD9306}"/>
              </c:ext>
            </c:extLst>
          </c:dPt>
          <c:val>
            <c:numRef>
              <c:f>Analyse!$AA$4:$AB$4</c:f>
              <c:numCache>
                <c:formatCode>0.0%</c:formatCode>
                <c:ptCount val="2"/>
                <c:pt idx="0">
                  <c:v>3.5752351901609011E-2</c:v>
                </c:pt>
                <c:pt idx="1">
                  <c:v>0.96424764809839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3D-49DC-AC5D-DF5845DD9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981-41E6-8DB9-6F3A7B5CDB5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E981-41E6-8DB9-6F3A7B5CDB58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5-E981-41E6-8DB9-6F3A7B5CDB58}"/>
              </c:ext>
            </c:extLst>
          </c:dPt>
          <c:val>
            <c:numRef>
              <c:f>Analyse!$AA$5:$AB$5</c:f>
              <c:numCache>
                <c:formatCode>0.0%</c:formatCode>
                <c:ptCount val="2"/>
                <c:pt idx="0">
                  <c:v>2.5625713264771591E-2</c:v>
                </c:pt>
                <c:pt idx="1">
                  <c:v>0.9743742867352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981-41E6-8DB9-6F3A7B5CD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49114069499811E-2"/>
          <c:y val="4.6843832020997365E-2"/>
          <c:w val="0.92969162498722302"/>
          <c:h val="0.9022302420530766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nalyse!$AH$3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90000"/>
                  <a:lumOff val="10000"/>
                </a:schemeClr>
              </a:solidFill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07F2-4893-AB51-1B68DD583B4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chemeClr val="tx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07F2-4893-AB51-1B68DD583B46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07F2-4893-AB51-1B68DD583B4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07F2-4893-AB51-1B68DD583B4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7F2-4893-AB51-1B68DD583B4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7F2-4893-AB51-1B68DD583B4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7F2-4893-AB51-1B68DD583B4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H$4:$AH$10</c:f>
              <c:numCache>
                <c:formatCode>General</c:formatCode>
                <c:ptCount val="7"/>
                <c:pt idx="0" formatCode="0%">
                  <c:v>1</c:v>
                </c:pt>
                <c:pt idx="2" formatCode="0%">
                  <c:v>0.40194117179649302</c:v>
                </c:pt>
                <c:pt idx="4" formatCode="0%">
                  <c:v>3.5752351901609011E-2</c:v>
                </c:pt>
                <c:pt idx="6" formatCode="0%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2-4893-AB51-1B68DD583B46}"/>
            </c:ext>
          </c:extLst>
        </c:ser>
        <c:ser>
          <c:idx val="1"/>
          <c:order val="1"/>
          <c:tx>
            <c:strRef>
              <c:f>Analyse!$AI$3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I$4:$AI$10</c:f>
              <c:numCache>
                <c:formatCode>0%</c:formatCode>
                <c:ptCount val="7"/>
                <c:pt idx="1">
                  <c:v>0.40194117179649302</c:v>
                </c:pt>
                <c:pt idx="3">
                  <c:v>3.5752351901609011E-2</c:v>
                </c:pt>
                <c:pt idx="5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2-4893-AB51-1B68DD583B46}"/>
            </c:ext>
          </c:extLst>
        </c:ser>
        <c:ser>
          <c:idx val="2"/>
          <c:order val="2"/>
          <c:tx>
            <c:strRef>
              <c:f>Analyse!$AJ$3</c:f>
              <c:strCache>
                <c:ptCount val="1"/>
                <c:pt idx="0">
                  <c:v>Increa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J$4:$AJ$10</c:f>
              <c:numCache>
                <c:formatCode>General</c:formatCode>
                <c:ptCount val="7"/>
                <c:pt idx="1">
                  <c:v>0</c:v>
                </c:pt>
                <c:pt idx="3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2-4893-AB51-1B68DD583B46}"/>
            </c:ext>
          </c:extLst>
        </c:ser>
        <c:ser>
          <c:idx val="3"/>
          <c:order val="3"/>
          <c:tx>
            <c:strRef>
              <c:f>Analyse!$AK$3</c:f>
              <c:strCache>
                <c:ptCount val="1"/>
                <c:pt idx="0">
                  <c:v>Decre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7F2-4893-AB51-1B68DD583B4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7F2-4893-AB51-1B68DD583B4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K$4:$AK$10</c:f>
              <c:numCache>
                <c:formatCode>\-0%</c:formatCode>
                <c:ptCount val="7"/>
                <c:pt idx="1">
                  <c:v>0.59805882820350698</c:v>
                </c:pt>
                <c:pt idx="3">
                  <c:v>0.366188819894884</c:v>
                </c:pt>
                <c:pt idx="5">
                  <c:v>1.01266386368374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2-4893-AB51-1B68DD583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34053472"/>
        <c:axId val="2034051072"/>
      </c:barChart>
      <c:catAx>
        <c:axId val="20340534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2034051072"/>
        <c:crosses val="autoZero"/>
        <c:auto val="1"/>
        <c:lblAlgn val="ctr"/>
        <c:lblOffset val="100"/>
        <c:noMultiLvlLbl val="0"/>
      </c:catAx>
      <c:valAx>
        <c:axId val="203405107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2034053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6643804568866889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1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</c:marker>
          <c:dLbls>
            <c:numFmt formatCode="#\ ##0&quot;M€&quot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C$7:$C$150</c:f>
              <c:numCache>
                <c:formatCode>#\ ##0.0\ \ "M€"</c:formatCode>
                <c:ptCount val="144"/>
                <c:pt idx="0">
                  <c:v>29505584</c:v>
                </c:pt>
                <c:pt idx="1">
                  <c:v>23967141</c:v>
                </c:pt>
                <c:pt idx="2">
                  <c:v>22403234</c:v>
                </c:pt>
                <c:pt idx="3">
                  <c:v>21751691</c:v>
                </c:pt>
                <c:pt idx="4">
                  <c:v>23102388</c:v>
                </c:pt>
                <c:pt idx="5">
                  <c:v>22721100</c:v>
                </c:pt>
                <c:pt idx="6">
                  <c:v>22367555</c:v>
                </c:pt>
                <c:pt idx="7">
                  <c:v>33007622</c:v>
                </c:pt>
                <c:pt idx="8">
                  <c:v>33917775</c:v>
                </c:pt>
                <c:pt idx="9">
                  <c:v>42788449</c:v>
                </c:pt>
                <c:pt idx="10">
                  <c:v>46815658</c:v>
                </c:pt>
                <c:pt idx="11">
                  <c:v>431391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9D7CCCF-2965-4A59-963C-1FA89DB8CA6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33CCEF6D-EE30-43B3-AE51-8112E9F0ACF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801F157-A15D-4976-8738-4FDA3D87DFC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DF34CEB-FDCE-44D5-944A-BFD73817EF2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783FBC8F-3269-40E3-BE6B-1CCC4AE9391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H$7:$H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30AE-48C2-B1D8-B9340032688F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7F3D6F0-14D9-4CA0-BDC6-D6399B63254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1297969-2D03-4FA6-96CD-6F90E762B62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2743751-99B6-4140-B633-1377DBC4C3F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137A431-EA4C-47DE-9100-D0972999B28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3AF3A4A-AC6D-4677-A3E7-B6753F8E8D4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DE56625-6364-46A0-99B0-C3FD4A3F397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I$7:$I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71033476323324218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#\ ##0&quot;M€&quot;;\-#\ ##0&quot;M€&quot;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N$7:$N$150</c:f>
              <c:numCache>
                <c:formatCode>#\ ##0.0\ \ "M€"</c:formatCode>
                <c:ptCount val="144"/>
                <c:pt idx="0">
                  <c:v>3044779</c:v>
                </c:pt>
                <c:pt idx="1">
                  <c:v>460626</c:v>
                </c:pt>
                <c:pt idx="2">
                  <c:v>700135</c:v>
                </c:pt>
                <c:pt idx="3">
                  <c:v>451547</c:v>
                </c:pt>
                <c:pt idx="4">
                  <c:v>554692</c:v>
                </c:pt>
                <c:pt idx="5">
                  <c:v>481093</c:v>
                </c:pt>
                <c:pt idx="6">
                  <c:v>588761</c:v>
                </c:pt>
                <c:pt idx="7">
                  <c:v>11030048</c:v>
                </c:pt>
                <c:pt idx="8">
                  <c:v>11047703</c:v>
                </c:pt>
                <c:pt idx="9">
                  <c:v>12676207</c:v>
                </c:pt>
                <c:pt idx="10">
                  <c:v>17092825</c:v>
                </c:pt>
                <c:pt idx="11">
                  <c:v>170417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7A81661-A917-469A-95C6-177B4F4831F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033A565-7A86-40D1-92D2-01579D8F84B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1983C468-CA14-4CB8-802A-2A7BA073A2E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47D4C4C-9BC9-4F94-8867-08B9DBCCC62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C5DE618E-84ED-45D3-982C-5444501B9CB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51CB0DFE-7E08-44BC-A80F-8C757DB8D81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050059EB-A797-4DF9-9A34-B707A9777F4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S$7:$S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2CE8-43F5-8DA1-2006C6E9F7D8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F12D2CF-CBD5-408A-98C8-4D1BCA12274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D316524-0236-47D9-9E74-762CA4CFA81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1E745AF-96E0-4B7C-A13E-8AFC6963AB2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30F27832-3D7D-4030-86FB-42755CBC26A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T$7:$T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</c:plotArea>
    <c:plotVisOnly val="1"/>
    <c:dispBlanksAs val="gap"/>
    <c:showDLblsOverMax val="0"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nalyse!$W$6</c:f>
              <c:strCache>
                <c:ptCount val="1"/>
                <c:pt idx="0">
                  <c:v>Taux de mar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Analyse!$M$7:$M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W$7:$W$150</c:f>
              <c:numCache>
                <c:formatCode>0%</c:formatCode>
                <c:ptCount val="144"/>
                <c:pt idx="0">
                  <c:v>0.10319331418757886</c:v>
                </c:pt>
                <c:pt idx="1">
                  <c:v>1.9219063300040667E-2</c:v>
                </c:pt>
                <c:pt idx="2">
                  <c:v>3.1251514848258069E-2</c:v>
                </c:pt>
                <c:pt idx="3">
                  <c:v>2.0759167643563895E-2</c:v>
                </c:pt>
                <c:pt idx="4">
                  <c:v>2.4010158603517524E-2</c:v>
                </c:pt>
                <c:pt idx="5">
                  <c:v>2.1173842815708745E-2</c:v>
                </c:pt>
                <c:pt idx="6">
                  <c:v>2.6322099129743953E-2</c:v>
                </c:pt>
                <c:pt idx="7">
                  <c:v>0.33416669640727226</c:v>
                </c:pt>
                <c:pt idx="8">
                  <c:v>0.32572015705629276</c:v>
                </c:pt>
                <c:pt idx="9">
                  <c:v>0.29625301445256874</c:v>
                </c:pt>
                <c:pt idx="10">
                  <c:v>0.36510914788381271</c:v>
                </c:pt>
                <c:pt idx="11">
                  <c:v>0.39504207850664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4-4A83-BE21-177566B7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121538784"/>
        <c:axId val="2121540224"/>
      </c:barChart>
      <c:dateAx>
        <c:axId val="212153878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40224"/>
        <c:crosses val="autoZero"/>
        <c:auto val="1"/>
        <c:lblOffset val="100"/>
        <c:baseTimeUnit val="years"/>
      </c:dateAx>
      <c:valAx>
        <c:axId val="212154022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3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90000"/>
              <a:lumOff val="10000"/>
            </a:schemeClr>
          </a:solidFill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chart" Target="../charts/chart2.xml"/><Relationship Id="rId1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chart" Target="../charts/chart1.xml"/><Relationship Id="rId17" Type="http://schemas.openxmlformats.org/officeDocument/2006/relationships/chart" Target="../charts/chart4.xml"/><Relationship Id="rId2" Type="http://schemas.openxmlformats.org/officeDocument/2006/relationships/tags" Target="../tags/tag2.xml"/><Relationship Id="rId16" Type="http://schemas.openxmlformats.org/officeDocument/2006/relationships/image" Target="../media/image9.svg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8.png"/><Relationship Id="rId10" Type="http://schemas.openxmlformats.org/officeDocument/2006/relationships/image" Target="../media/image6.png"/><Relationship Id="rId19" Type="http://schemas.openxmlformats.org/officeDocument/2006/relationships/chart" Target="../charts/chart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svg"/><Relationship Id="rId1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 dirty="0">
                <a:solidFill>
                  <a:schemeClr val="bg1"/>
                </a:solidFill>
                <a:latin typeface="Aptos Black" panose="020B0004020202020204" pitchFamily="34" charset="0"/>
              </a:rPr>
              <a:t>[Entreprise]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[Date] | A001 [Incohérence]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[Start]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[</a:t>
                </a:r>
                <a:r>
                  <a:rPr lang="fr-FR" sz="1200" b="1" dirty="0" err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_CA</a:t>
                </a:r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]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[Start]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[</a:t>
                  </a:r>
                  <a:r>
                    <a:rPr lang="fr-FR" sz="1200" b="1" noProof="0" dirty="0" err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r</a:t>
                  </a:r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_EBE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]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BE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</a:t>
            </a:r>
            <a:r>
              <a:rPr lang="fr-FR" sz="12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nd]</a:t>
            </a:r>
          </a:p>
          <a:p>
            <a:pPr algn="ctr"/>
            <a:r>
              <a:rPr lang="fr-FR" sz="9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C69C6BA-014D-6AC1-9308-90DDB0C73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3816215"/>
              </p:ext>
            </p:extLst>
          </p:nvPr>
        </p:nvGraphicFramePr>
        <p:xfrm>
          <a:off x="5584058" y="521970"/>
          <a:ext cx="1044000" cy="1051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[End]</a:t>
            </a:r>
          </a:p>
          <a:p>
            <a:pPr algn="ctr"/>
            <a:r>
              <a:rPr lang="fr-FR" sz="9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6427DC35-21A6-C69D-EDF8-98CD0D3A04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153400"/>
              </p:ext>
            </p:extLst>
          </p:nvPr>
        </p:nvGraphicFramePr>
        <p:xfrm>
          <a:off x="7383683" y="521970"/>
          <a:ext cx="1044000" cy="106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800" b="1" dirty="0" err="1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_p</a:t>
            </a: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A220FCE-B200-D671-8797-E77ABBCBBD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3571609"/>
              </p:ext>
            </p:extLst>
          </p:nvPr>
        </p:nvGraphicFramePr>
        <p:xfrm>
          <a:off x="10462051" y="334878"/>
          <a:ext cx="1378066" cy="3086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Famille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Segment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CA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RN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E966595-C73A-E42F-5214-EDAFF36FEB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6470293"/>
              </p:ext>
            </p:extLst>
          </p:nvPr>
        </p:nvGraphicFramePr>
        <p:xfrm>
          <a:off x="398073" y="3416481"/>
          <a:ext cx="4297708" cy="303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86CF501-686A-436A-B70E-871FC91A8D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317412"/>
              </p:ext>
            </p:extLst>
          </p:nvPr>
        </p:nvGraphicFramePr>
        <p:xfrm>
          <a:off x="4692900" y="3416078"/>
          <a:ext cx="4297708" cy="3040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546CF5-0D6F-4D39-EA6C-54839C9647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953613"/>
              </p:ext>
            </p:extLst>
          </p:nvPr>
        </p:nvGraphicFramePr>
        <p:xfrm>
          <a:off x="9112619" y="3942958"/>
          <a:ext cx="2841611" cy="241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625330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222</Words>
  <Application>Microsoft Office PowerPoint</Application>
  <PresentationFormat>Widescreen</PresentationFormat>
  <Paragraphs>4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99</cp:revision>
  <dcterms:created xsi:type="dcterms:W3CDTF">2025-05-09T11:21:43Z</dcterms:created>
  <dcterms:modified xsi:type="dcterms:W3CDTF">2025-10-04T16:07:27Z</dcterms:modified>
</cp:coreProperties>
</file>